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7</c:v>
                </c:pt>
                <c:pt idx="86">
                  <c:v>15</c:v>
                </c:pt>
                <c:pt idx="87">
                  <c:v>13</c:v>
                </c:pt>
                <c:pt idx="88">
                  <c:v>12</c:v>
                </c:pt>
                <c:pt idx="89">
                  <c:v>8</c:v>
                </c:pt>
                <c:pt idx="90">
                  <c:v>9</c:v>
                </c:pt>
                <c:pt idx="91">
                  <c:v>9</c:v>
                </c:pt>
                <c:pt idx="92">
                  <c:v>11</c:v>
                </c:pt>
                <c:pt idx="93">
                  <c:v>12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39</c:v>
                </c:pt>
                <c:pt idx="106">
                  <c:v>36</c:v>
                </c:pt>
                <c:pt idx="107">
                  <c:v>40</c:v>
                </c:pt>
                <c:pt idx="108">
                  <c:v>40</c:v>
                </c:pt>
                <c:pt idx="109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</c:numCache>
            </c:numRef>
          </c:cat>
          <c:val>
            <c:numRef>
              <c:f>Sheet1!$D$7:$GB$7</c:f>
              <c:numCache>
                <c:formatCode>General</c:formatCode>
                <c:ptCount val="181"/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57">
                  <c:v>1</c:v>
                </c:pt>
                <c:pt idx="58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2</c:v>
                </c:pt>
                <c:pt idx="69">
                  <c:v>3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1</c:v>
                </c:pt>
                <c:pt idx="103">
                  <c:v>1</c:v>
                </c:pt>
                <c:pt idx="104">
                  <c:v>1</c:v>
                </c:pt>
                <c:pt idx="105">
                  <c:v>1</c:v>
                </c:pt>
                <c:pt idx="106">
                  <c:v>1</c:v>
                </c:pt>
                <c:pt idx="10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</c:numCache>
            </c:numRef>
          </c:cat>
          <c:val>
            <c:numRef>
              <c:f>Sheet1!$D$2:$GB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</c:numCache>
            </c:numRef>
          </c:cat>
          <c:val>
            <c:numRef>
              <c:f>Sheet1!$D$3:$GB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</c:numCache>
            </c:numRef>
          </c:cat>
          <c:val>
            <c:numRef>
              <c:f>Sheet1!$D$4:$GB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</c:numCache>
            </c:numRef>
          </c:cat>
          <c:val>
            <c:numRef>
              <c:f>Sheet1!$D$5:$GB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</c:numCache>
            </c:numRef>
          </c:cat>
          <c:val>
            <c:numRef>
              <c:f>Sheet1!$D$6:$GB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3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4</c:v>
                </c:pt>
                <c:pt idx="103">
                  <c:v>4</c:v>
                </c:pt>
                <c:pt idx="104">
                  <c:v>3</c:v>
                </c:pt>
                <c:pt idx="105">
                  <c:v>2</c:v>
                </c:pt>
                <c:pt idx="106">
                  <c:v>1</c:v>
                </c:pt>
                <c:pt idx="107">
                  <c:v>3</c:v>
                </c:pt>
                <c:pt idx="108">
                  <c:v>4</c:v>
                </c:pt>
                <c:pt idx="10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2</c:v>
                </c:pt>
                <c:pt idx="108">
                  <c:v>2</c:v>
                </c:pt>
                <c:pt idx="10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4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9</c:v>
                </c:pt>
                <c:pt idx="98">
                  <c:v>203</c:v>
                </c:pt>
                <c:pt idx="99">
                  <c:v>204</c:v>
                </c:pt>
                <c:pt idx="100">
                  <c:v>206</c:v>
                </c:pt>
                <c:pt idx="101">
                  <c:v>210</c:v>
                </c:pt>
                <c:pt idx="102">
                  <c:v>213</c:v>
                </c:pt>
                <c:pt idx="103">
                  <c:v>217</c:v>
                </c:pt>
                <c:pt idx="104">
                  <c:v>226</c:v>
                </c:pt>
                <c:pt idx="105">
                  <c:v>233</c:v>
                </c:pt>
                <c:pt idx="106">
                  <c:v>236</c:v>
                </c:pt>
                <c:pt idx="107">
                  <c:v>242</c:v>
                </c:pt>
                <c:pt idx="108">
                  <c:v>243</c:v>
                </c:pt>
                <c:pt idx="109">
                  <c:v>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2</c:v>
                </c:pt>
                <c:pt idx="102">
                  <c:v>72</c:v>
                </c:pt>
                <c:pt idx="103">
                  <c:v>73</c:v>
                </c:pt>
                <c:pt idx="104">
                  <c:v>76</c:v>
                </c:pt>
                <c:pt idx="105">
                  <c:v>78</c:v>
                </c:pt>
                <c:pt idx="106">
                  <c:v>78</c:v>
                </c:pt>
                <c:pt idx="107">
                  <c:v>79</c:v>
                </c:pt>
                <c:pt idx="108">
                  <c:v>79</c:v>
                </c:pt>
                <c:pt idx="109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1</c:v>
                </c:pt>
                <c:pt idx="102">
                  <c:v>11</c:v>
                </c:pt>
                <c:pt idx="103">
                  <c:v>11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2</c:v>
                </c:pt>
                <c:pt idx="10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2</c:v>
                </c:pt>
                <c:pt idx="10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8</c:v>
                </c:pt>
                <c:pt idx="102">
                  <c:v>7</c:v>
                </c:pt>
                <c:pt idx="103">
                  <c:v>8</c:v>
                </c:pt>
                <c:pt idx="104">
                  <c:v>11</c:v>
                </c:pt>
                <c:pt idx="105">
                  <c:v>13</c:v>
                </c:pt>
                <c:pt idx="106">
                  <c:v>11</c:v>
                </c:pt>
                <c:pt idx="107">
                  <c:v>12</c:v>
                </c:pt>
                <c:pt idx="108">
                  <c:v>12</c:v>
                </c:pt>
                <c:pt idx="109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2</c:v>
                </c:pt>
                <c:pt idx="10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4</c:v>
                </c:pt>
                <c:pt idx="105">
                  <c:v>5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20</c:v>
                </c:pt>
                <c:pt idx="105">
                  <c:v>21</c:v>
                </c:pt>
                <c:pt idx="106">
                  <c:v>21</c:v>
                </c:pt>
                <c:pt idx="107">
                  <c:v>21</c:v>
                </c:pt>
                <c:pt idx="108">
                  <c:v>21</c:v>
                </c:pt>
                <c:pt idx="109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4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7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20</c:v>
                </c:pt>
                <c:pt idx="103">
                  <c:v>20</c:v>
                </c:pt>
                <c:pt idx="104">
                  <c:v>21</c:v>
                </c:pt>
                <c:pt idx="105">
                  <c:v>21</c:v>
                </c:pt>
                <c:pt idx="106">
                  <c:v>21</c:v>
                </c:pt>
                <c:pt idx="107">
                  <c:v>23</c:v>
                </c:pt>
                <c:pt idx="108">
                  <c:v>24</c:v>
                </c:pt>
                <c:pt idx="109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0</c:v>
                </c:pt>
                <c:pt idx="109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23">
                  <c:v>1</c:v>
                </c:pt>
                <c:pt idx="24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3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1</c:v>
                </c:pt>
                <c:pt idx="98">
                  <c:v>21</c:v>
                </c:pt>
                <c:pt idx="99">
                  <c:v>21</c:v>
                </c:pt>
                <c:pt idx="100">
                  <c:v>21</c:v>
                </c:pt>
                <c:pt idx="101">
                  <c:v>21</c:v>
                </c:pt>
                <c:pt idx="102">
                  <c:v>23</c:v>
                </c:pt>
                <c:pt idx="103">
                  <c:v>25</c:v>
                </c:pt>
                <c:pt idx="104">
                  <c:v>25</c:v>
                </c:pt>
                <c:pt idx="105">
                  <c:v>26</c:v>
                </c:pt>
                <c:pt idx="106">
                  <c:v>27</c:v>
                </c:pt>
                <c:pt idx="107">
                  <c:v>29</c:v>
                </c:pt>
                <c:pt idx="108">
                  <c:v>29</c:v>
                </c:pt>
                <c:pt idx="109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71">
                  <c:v>1</c:v>
                </c:pt>
                <c:pt idx="75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4</c:v>
                </c:pt>
                <c:pt idx="108">
                  <c:v>4</c:v>
                </c:pt>
                <c:pt idx="10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8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48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5">
                  <c:v>3</c:v>
                </c:pt>
                <c:pt idx="86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77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  <c:pt idx="103">
                  <c:v>3</c:v>
                </c:pt>
                <c:pt idx="104">
                  <c:v>2</c:v>
                </c:pt>
                <c:pt idx="105">
                  <c:v>3</c:v>
                </c:pt>
                <c:pt idx="106">
                  <c:v>5</c:v>
                </c:pt>
                <c:pt idx="107">
                  <c:v>4</c:v>
                </c:pt>
                <c:pt idx="108">
                  <c:v>3</c:v>
                </c:pt>
                <c:pt idx="10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99">
                  <c:v>1</c:v>
                </c:pt>
                <c:pt idx="100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1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chart" Target="../charts/chart9.xml"/><Relationship Id="rId4" Type="http://schemas.openxmlformats.org/officeDocument/2006/relationships/tags" Target="../tags/tag61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chart" Target="../charts/chart10.xml"/><Relationship Id="rId4" Type="http://schemas.openxmlformats.org/officeDocument/2006/relationships/tags" Target="../tags/tag68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chart" Target="../charts/chart11.xml"/><Relationship Id="rId4" Type="http://schemas.openxmlformats.org/officeDocument/2006/relationships/tags" Target="../tags/tag75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10" Type="http://schemas.openxmlformats.org/officeDocument/2006/relationships/chart" Target="../charts/chart12.xml"/><Relationship Id="rId4" Type="http://schemas.openxmlformats.org/officeDocument/2006/relationships/tags" Target="../tags/tag82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1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chart" Target="../charts/chart18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25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38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4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2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chart" Target="../charts/chart26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chart" Target="../charts/chart2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chart" Target="../charts/chart28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chart" Target="../charts/chart29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chart" Target="../charts/chart30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chart" Target="../charts/chart3.xml"/><Relationship Id="rId5" Type="http://schemas.openxmlformats.org/officeDocument/2006/relationships/tags" Target="../tags/tag19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chart" Target="../charts/chart4.xml"/><Relationship Id="rId4" Type="http://schemas.openxmlformats.org/officeDocument/2006/relationships/tags" Target="../tags/tag26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chart" Target="../charts/chart5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chart" Target="../charts/chart6.xml"/><Relationship Id="rId4" Type="http://schemas.openxmlformats.org/officeDocument/2006/relationships/tags" Target="../tags/tag40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chart" Target="../charts/chart7.xml"/><Relationship Id="rId4" Type="http://schemas.openxmlformats.org/officeDocument/2006/relationships/tags" Target="../tags/tag47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chart" Target="../charts/chart8.xml"/><Relationship Id="rId4" Type="http://schemas.openxmlformats.org/officeDocument/2006/relationships/tags" Target="../tags/tag54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17434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6D3C63-0E27-4A6A-879B-19BB768654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0854110"/>
              </p:ext>
            </p:extLst>
          </p:nvPr>
        </p:nvGraphicFramePr>
        <p:xfrm>
          <a:off x="2622523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E806D52-F766-466A-A810-E6CF17D373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2B06E06-70A1-4B93-936E-86CA22F206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923E76-E5A9-45D8-9BB6-FFCE5DF42E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6069BDA-1378-4928-8B49-C05CF781D4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8711456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4778771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BC825D-29F4-4F8A-8519-7E702005C47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56206771"/>
              </p:ext>
            </p:extLst>
          </p:nvPr>
        </p:nvGraphicFramePr>
        <p:xfrm>
          <a:off x="2073884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222418" y="280260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303016" y="3264265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26601350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49725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09C3001B-A18F-45FD-A9D6-51CC883DBD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03962110"/>
              </p:ext>
            </p:extLst>
          </p:nvPr>
        </p:nvGraphicFramePr>
        <p:xfrm>
          <a:off x="1852961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FBC5B694-4EAE-4001-BC57-1904B023C3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B539091F-BAFC-47D8-96E8-715313940E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9C744F4A-BB16-4D1C-AA7D-423079380B3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8776F24-5BF6-4BFB-843A-D6DFAEE50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8003096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68892"/>
              </p:ext>
            </p:extLst>
          </p:nvPr>
        </p:nvGraphicFramePr>
        <p:xfrm>
          <a:off x="557349" y="1499008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3565B37-2E6F-45A1-BF8B-FEE50380A20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0857993"/>
              </p:ext>
            </p:extLst>
          </p:nvPr>
        </p:nvGraphicFramePr>
        <p:xfrm>
          <a:off x="230664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D93E988-E45A-43A5-ADC5-CC93AFD054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F617EFE-4367-4030-961F-32EF3525538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F8F1566-08AC-42B0-A669-70174A3EFD0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9FEAAE31-28ED-49FC-B1D4-DA3AB4DE970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2252199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7173614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128CB7-48AC-4392-9EFA-1800165DAB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3638646"/>
              </p:ext>
            </p:extLst>
          </p:nvPr>
        </p:nvGraphicFramePr>
        <p:xfrm>
          <a:off x="2065572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76743B08-494F-4A01-9D20-0A821EA3F2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55C46AB-BD52-4052-8BC0-A8D7E0FCAF8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8B9429F-8EE7-4155-836F-3A59DAD96C4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3C5A6AD-A606-407C-9EFA-8FA0E35EA6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874052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146564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2AC8C60-1753-494B-8FAE-AF75E230557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26474155"/>
              </p:ext>
            </p:extLst>
          </p:nvPr>
        </p:nvGraphicFramePr>
        <p:xfrm>
          <a:off x="16748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1CA9BC1-C898-4F46-B227-2018AADFAE6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8DD85244-F2F8-4E62-A4FA-5A0983D2054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6FE4067-06CD-4115-926E-17D5E19252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242BFD8-567D-4846-B363-F8FAECF644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1002077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073165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C157425-86A6-4B6A-9331-4CF1668B88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39036403"/>
              </p:ext>
            </p:extLst>
          </p:nvPr>
        </p:nvGraphicFramePr>
        <p:xfrm>
          <a:off x="25892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</a:t>
                      </a:r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: 17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CF8D6D6-BF2F-428B-B2EE-C5494D9DDA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413037" y="3038841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ED5180-E8BD-4D2B-BCBC-0A5FBA22277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493635" y="3500506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FF567FE-6598-47DF-9CF8-52DCF46BDFB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A706769-324C-4B1C-8EDB-553F0E9C61C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2459134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</a:t>
            </a:r>
            <a:r>
              <a:rPr lang="cs-CZ" sz="5400" b="1">
                <a:solidFill>
                  <a:schemeClr val="tx2"/>
                </a:solidFill>
              </a:rPr>
              <a:t>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43511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809760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07316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C878F213-5D21-4701-A55D-E6829F4BC4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28258108"/>
              </p:ext>
            </p:extLst>
          </p:nvPr>
        </p:nvGraphicFramePr>
        <p:xfrm>
          <a:off x="2098826" y="1003173"/>
          <a:ext cx="765008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5008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206368" y="3342751"/>
            <a:ext cx="1888984" cy="738664"/>
            <a:chOff x="10270650" y="3526984"/>
            <a:chExt cx="1888984" cy="738664"/>
          </a:xfrm>
        </p:grpSpPr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0582017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132755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461905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306916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74444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00941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043158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397090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1354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497517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675646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93364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4F7431F-D009-4A6F-9F35-43C9EEB6C98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5105136"/>
              </p:ext>
            </p:extLst>
          </p:nvPr>
        </p:nvGraphicFramePr>
        <p:xfrm>
          <a:off x="1766316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23707" y="288889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008B823-A361-4831-9CB5-F8CFB5FDF28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304305" y="3350562"/>
            <a:ext cx="1888984" cy="738664"/>
            <a:chOff x="10270650" y="3526984"/>
            <a:chExt cx="1888984" cy="738664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67BABA07-65A1-436D-9732-EF65B021C6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6CA75FD4-2199-47E2-94D4-AB79AFAF34B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6779003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18703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13293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7081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4106911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4B08EB3-E8D4-447D-8759-4AA20C8380C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493117"/>
              </p:ext>
            </p:extLst>
          </p:nvPr>
        </p:nvGraphicFramePr>
        <p:xfrm>
          <a:off x="2173638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3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070262" y="284899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150860" y="3310655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731944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677428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16534-AFDA-4250-AADA-3EF7CDFC004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843783"/>
              </p:ext>
            </p:extLst>
          </p:nvPr>
        </p:nvGraphicFramePr>
        <p:xfrm>
          <a:off x="186607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BEF6641-F353-4F7F-8EC5-D771E0847D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DDFBF04-3E67-4550-BEFF-332785F3B4E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088352F-A016-4FBA-AD73-69DF104657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1B0E5236-8560-4581-A686-7FB45454770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162950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04231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0719826-4D66-4B50-9D39-55C84D9A8DE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45299659"/>
              </p:ext>
            </p:extLst>
          </p:nvPr>
        </p:nvGraphicFramePr>
        <p:xfrm>
          <a:off x="1822134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EC3419F-3CAA-41F1-AB03-902F81CC8FF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55D000F-8AF3-44BE-AA59-8998DAFAF76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B980D2-FD8E-4D45-8F13-B8462B5D84E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54713AB-76CF-45D8-B683-E2A4EDD952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6276738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650218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D2119C31-6FBC-4017-8125-C38DFA1BAC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72706469"/>
              </p:ext>
            </p:extLst>
          </p:nvPr>
        </p:nvGraphicFramePr>
        <p:xfrm>
          <a:off x="216532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3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01DEDF3D-F376-4753-87C2-534EFA8E5C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613062" y="263165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31C920BD-BE3A-4264-B26F-FCA28EB70D7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693660" y="309332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A8E4F60-D1CF-47FC-BE76-DDCD921023D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731946D4-4F23-4C96-852D-4B865939DEB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0055320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76268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EC9ABBB-F8C3-4DA7-95A0-815930E2004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9150118"/>
              </p:ext>
            </p:extLst>
          </p:nvPr>
        </p:nvGraphicFramePr>
        <p:xfrm>
          <a:off x="1776071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D7428D86-FC28-4BEF-A7AE-C7DD7FECC8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09AC08D-3B47-4E42-B404-9280C2EBB13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CB14CF1-4499-4F06-B5B1-2D67709508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F872B93-CA40-41CD-8D2C-FD6C409B16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1344860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33364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7A93822-FD8D-4C16-95A6-992321D2F52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11287386"/>
              </p:ext>
            </p:extLst>
          </p:nvPr>
        </p:nvGraphicFramePr>
        <p:xfrm>
          <a:off x="1917039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AB9C499-6AEC-4E7E-BA11-6E2833F4AA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498762" y="2985528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88ACD8A-EA02-4D32-888D-C6563E22272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579360" y="3447193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479BA8-6F02-4839-960A-34B10F542B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E1E22BC0-2A61-4951-8186-99BAA276C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898389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6</TotalTime>
  <Words>1871</Words>
  <Application>Microsoft Office PowerPoint</Application>
  <PresentationFormat>Širokoúhlá obrazovka</PresentationFormat>
  <Paragraphs>67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85</cp:revision>
  <dcterms:created xsi:type="dcterms:W3CDTF">2021-03-07T17:04:34Z</dcterms:created>
  <dcterms:modified xsi:type="dcterms:W3CDTF">2021-09-21T04:38:00Z</dcterms:modified>
</cp:coreProperties>
</file>